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2812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796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PBfVR_u_lGQ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654870B5-3FDE-44D2-829F-F16691E4D01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r="16199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0 Septem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ennifer Hudson, Forest Whitaker, Audra McDonal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Lisel</a:t>
            </a:r>
            <a:r>
              <a:rPr lang="en-US" dirty="0">
                <a:solidFill>
                  <a:schemeClr val="accent6"/>
                </a:solidFill>
              </a:rPr>
              <a:t> Tommy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Nina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ennifer Hudson is sure to attract huge awards buzz for her performance as the legendary Aretha Franklin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Women Index: 166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92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biopic detailing the life and achievements of legendary R&amp;B singer, Aretha Franklin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respec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 musical legend leaps onto the big scree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717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respec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respect</dc:description>
  <cp:lastModifiedBy/>
  <cp:revision>1</cp:revision>
  <dcterms:created xsi:type="dcterms:W3CDTF">2019-03-25T11:13:20Z</dcterms:created>
  <dcterms:modified xsi:type="dcterms:W3CDTF">2021-07-07T10:43:5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respect</vt:lpwstr>
  </property>
</Properties>
</file>